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83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34DF1E-EBC9-EB6B-510B-136479E14AA3}" name="Alexandra Regan" initials="AR" userId="520e96342e21983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89F"/>
    <a:srgbClr val="1070B8"/>
    <a:srgbClr val="666666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D7A168-3342-054E-BE79-E912C8A47FC2}" v="26" dt="2025-09-22T14:22:59.3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32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36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vdity Chikovani" userId="88c3af89-cfad-4844-9d52-51bd03c65758" providerId="ADAL" clId="{289F00C4-9F9E-540A-828A-CB0EB7E5AAA4}"/>
    <pc:docChg chg="undo custSel modSld">
      <pc:chgData name="Ivdity Chikovani" userId="88c3af89-cfad-4844-9d52-51bd03c65758" providerId="ADAL" clId="{289F00C4-9F9E-540A-828A-CB0EB7E5AAA4}" dt="2025-09-22T14:22:59.389" v="50"/>
      <pc:docMkLst>
        <pc:docMk/>
      </pc:docMkLst>
      <pc:sldChg chg="addSp delSp modSp mod">
        <pc:chgData name="Ivdity Chikovani" userId="88c3af89-cfad-4844-9d52-51bd03c65758" providerId="ADAL" clId="{289F00C4-9F9E-540A-828A-CB0EB7E5AAA4}" dt="2025-09-22T14:22:59.389" v="50"/>
        <pc:sldMkLst>
          <pc:docMk/>
          <pc:sldMk cId="471668765" sldId="283"/>
        </pc:sldMkLst>
        <pc:spChg chg="mod">
          <ac:chgData name="Ivdity Chikovani" userId="88c3af89-cfad-4844-9d52-51bd03c65758" providerId="ADAL" clId="{289F00C4-9F9E-540A-828A-CB0EB7E5AAA4}" dt="2025-09-22T14:16:41.041" v="18" actId="20577"/>
          <ac:spMkLst>
            <pc:docMk/>
            <pc:sldMk cId="471668765" sldId="283"/>
            <ac:spMk id="7" creationId="{E395E9DD-3CA3-F045-9DCB-77E6AAFE6A26}"/>
          </ac:spMkLst>
        </pc:spChg>
        <pc:graphicFrameChg chg="mod modGraphic">
          <ac:chgData name="Ivdity Chikovani" userId="88c3af89-cfad-4844-9d52-51bd03c65758" providerId="ADAL" clId="{289F00C4-9F9E-540A-828A-CB0EB7E5AAA4}" dt="2025-09-22T14:19:28.296" v="48" actId="20577"/>
          <ac:graphicFrameMkLst>
            <pc:docMk/>
            <pc:sldMk cId="471668765" sldId="283"/>
            <ac:graphicFrameMk id="14" creationId="{73F29AE2-B32F-D0E9-AC5E-CD232437A2B8}"/>
          </ac:graphicFrameMkLst>
        </pc:graphicFrameChg>
        <pc:graphicFrameChg chg="modGraphic">
          <ac:chgData name="Ivdity Chikovani" userId="88c3af89-cfad-4844-9d52-51bd03c65758" providerId="ADAL" clId="{289F00C4-9F9E-540A-828A-CB0EB7E5AAA4}" dt="2025-09-22T14:18:53.512" v="32" actId="20577"/>
          <ac:graphicFrameMkLst>
            <pc:docMk/>
            <pc:sldMk cId="471668765" sldId="283"/>
            <ac:graphicFrameMk id="16" creationId="{55241C14-BA57-0890-5F0F-28081FC1A87A}"/>
          </ac:graphicFrameMkLst>
        </pc:graphicFrameChg>
        <pc:picChg chg="add mod">
          <ac:chgData name="Ivdity Chikovani" userId="88c3af89-cfad-4844-9d52-51bd03c65758" providerId="ADAL" clId="{289F00C4-9F9E-540A-828A-CB0EB7E5AAA4}" dt="2025-09-22T14:22:59.389" v="50"/>
          <ac:picMkLst>
            <pc:docMk/>
            <pc:sldMk cId="471668765" sldId="283"/>
            <ac:picMk id="8" creationId="{F24AE03E-C9CD-BAAE-999B-E100062A49A6}"/>
          </ac:picMkLst>
        </pc:picChg>
        <pc:picChg chg="del">
          <ac:chgData name="Ivdity Chikovani" userId="88c3af89-cfad-4844-9d52-51bd03c65758" providerId="ADAL" clId="{289F00C4-9F9E-540A-828A-CB0EB7E5AAA4}" dt="2025-09-22T14:22:53.262" v="49" actId="478"/>
          <ac:picMkLst>
            <pc:docMk/>
            <pc:sldMk cId="471668765" sldId="283"/>
            <ac:picMk id="10" creationId="{D2BBC610-215B-0FC9-5C66-708E2CFB6C6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CE733-AA74-495B-8069-C8B29890BCD3}" type="datetimeFigureOut">
              <a:rPr lang="en-US" smtClean="0"/>
              <a:t>9/22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015F8-C5B8-405F-A648-CB3C9E8B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4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63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14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3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29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3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105" indent="-457105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799933" indent="-342828">
              <a:buClr>
                <a:schemeClr val="accent1"/>
              </a:buClr>
              <a:buFont typeface="Wingdings" charset="2"/>
              <a:buChar char="§"/>
              <a:defRPr sz="1786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038" indent="-342828">
              <a:buClr>
                <a:schemeClr val="accent1"/>
              </a:buClr>
              <a:buFont typeface="Wingdings" charset="2"/>
              <a:buChar char="§"/>
              <a:defRPr sz="1571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142" indent="-342828">
              <a:buClr>
                <a:schemeClr val="accent1"/>
              </a:buClr>
              <a:buFont typeface="Wingdings" charset="2"/>
              <a:buChar char="§"/>
              <a:defRPr sz="1429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14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6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105" indent="-457105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799933" indent="-342828">
              <a:buClr>
                <a:srgbClr val="00A6B6"/>
              </a:buClr>
              <a:buFontTx/>
              <a:buNone/>
              <a:defRPr sz="1786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038" indent="-342828">
              <a:buClr>
                <a:srgbClr val="00A6B6"/>
              </a:buClr>
              <a:buFontTx/>
              <a:buNone/>
              <a:defRPr sz="1571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142" indent="-342828">
              <a:buClr>
                <a:srgbClr val="00A6B6"/>
              </a:buClr>
              <a:buFontTx/>
              <a:buNone/>
              <a:defRPr sz="1429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14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2118948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14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9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214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317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2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5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ctr" defTabSz="914209" rtl="0" eaLnBrk="1" latinLnBrk="0" hangingPunct="1">
        <a:spcBef>
          <a:spcPct val="0"/>
        </a:spcBef>
        <a:buNone/>
        <a:defRPr sz="4429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828" indent="-342828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14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795" indent="-285691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786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276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29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599866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6971" indent="-228552" algn="l" defTabSz="91420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07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5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0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9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8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3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7" algn="l" defTabSz="91420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F47452-90E4-C7F9-0241-B342916167B5}"/>
              </a:ext>
            </a:extLst>
          </p:cNvPr>
          <p:cNvSpPr/>
          <p:nvPr/>
        </p:nvSpPr>
        <p:spPr>
          <a:xfrm>
            <a:off x="0" y="979211"/>
            <a:ext cx="9118600" cy="5417470"/>
          </a:xfrm>
          <a:prstGeom prst="rect">
            <a:avLst/>
          </a:prstGeom>
          <a:solidFill>
            <a:srgbClr val="1070B8"/>
          </a:solidFill>
          <a:ln w="76200">
            <a:solidFill>
              <a:srgbClr val="1070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E395E9DD-3CA3-F045-9DCB-77E6AAFE6A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202" y="1011"/>
            <a:ext cx="8540604" cy="95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9046" tIns="9523" rIns="19046" bIns="9523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lang="ru-RU" sz="2200" b="1" dirty="0">
                <a:solidFill>
                  <a:srgbClr val="1070B8"/>
                </a:solidFill>
                <a:latin typeface="Poppins" pitchFamily="2" charset="77"/>
                <a:cs typeface="Poppins" pitchFamily="2" charset="77"/>
              </a:rPr>
              <a:t>Грузия</a:t>
            </a:r>
            <a:endParaRPr lang="en-US" sz="2200" b="1" dirty="0">
              <a:solidFill>
                <a:srgbClr val="1070B8"/>
              </a:solidFill>
              <a:latin typeface="Poppins" pitchFamily="2" charset="77"/>
              <a:cs typeface="Poppins" pitchFamily="2" charset="77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Поддержание и укрепление охвата иммунизацией</a:t>
            </a: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в странах со средним уровнем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  <a:p>
            <a:pPr marL="0" marR="0" lvl="0" indent="0" algn="ctr" defTabSz="3135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313231"/>
                </a:solidFill>
                <a:effectLst/>
                <a:uLnTx/>
                <a:uFillTx/>
                <a:latin typeface="Poppins" panose="00000500000000000000" pitchFamily="2" charset="0"/>
                <a:ea typeface="ＭＳ Ｐゴシック" charset="0"/>
                <a:cs typeface="Poppins" panose="00000500000000000000" pitchFamily="2" charset="0"/>
              </a:rPr>
              <a:t>Ташкент, Узбекистан, 7–9 октября 2025 г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231"/>
              </a:solidFill>
              <a:effectLst/>
              <a:uLnTx/>
              <a:uFillTx/>
              <a:latin typeface="Poppins" panose="00000500000000000000" pitchFamily="2" charset="0"/>
              <a:ea typeface="ＭＳ Ｐゴシック" charset="0"/>
              <a:cs typeface="Poppins" panose="000005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795DCB-740F-F180-24B3-A6A5EAAADFAE}"/>
              </a:ext>
            </a:extLst>
          </p:cNvPr>
          <p:cNvSpPr/>
          <p:nvPr/>
        </p:nvSpPr>
        <p:spPr>
          <a:xfrm>
            <a:off x="-77693" y="6384597"/>
            <a:ext cx="9263528" cy="503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046" tIns="9523" rIns="19046" bIns="9523" rtlCol="0" anchor="ctr"/>
          <a:lstStyle/>
          <a:p>
            <a:pPr marL="0" marR="0" lvl="0" indent="0" algn="ctr" defTabSz="914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86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12" name="Picture 11" descr="GAVI_Alliance_Colour_Logo.jpg">
            <a:extLst>
              <a:ext uri="{FF2B5EF4-FFF2-40B4-BE49-F238E27FC236}">
                <a16:creationId xmlns:a16="http://schemas.microsoft.com/office/drawing/2014/main" id="{0C34421F-386F-5829-7A6D-523E44B66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61" y="6397487"/>
            <a:ext cx="1142629" cy="4380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C756BE-82ED-13B5-C720-227DEC008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5282" y="6404510"/>
            <a:ext cx="1623729" cy="453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CB1BBD7-6E67-5325-DC53-5CA0DD20BE84}"/>
              </a:ext>
            </a:extLst>
          </p:cNvPr>
          <p:cNvSpPr/>
          <p:nvPr/>
        </p:nvSpPr>
        <p:spPr>
          <a:xfrm>
            <a:off x="65778" y="992887"/>
            <a:ext cx="4020533" cy="3034376"/>
          </a:xfrm>
          <a:prstGeom prst="rect">
            <a:avLst/>
          </a:prstGeom>
          <a:solidFill>
            <a:srgbClr val="17A89F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9BDD36C-6B0D-7E9D-E2FF-6472595E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667473"/>
              </p:ext>
            </p:extLst>
          </p:nvPr>
        </p:nvGraphicFramePr>
        <p:xfrm>
          <a:off x="4103268" y="1003970"/>
          <a:ext cx="4974954" cy="1889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4954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33549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Ведущие факторы, вызывающие постоянные проблемы с охватом</a:t>
                      </a:r>
                      <a:endParaRPr lang="en-US" sz="11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1541857">
                <a:tc>
                  <a:txBody>
                    <a:bodyPr/>
                    <a:lstStyle/>
                    <a:p>
                      <a:pPr marL="46038" indent="-4603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оздняя регистрация детей в гор. учреждениях первички, приводящая к позднему началу и задержке вакцинации (причины: отсутствие системы патронажа и городских географ. зон обслуживания, проблемы взаимодействия </a:t>
                      </a:r>
                      <a:r>
                        <a:rPr lang="ru-RU" sz="80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эл.инф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. систем, приводящие к пробелам в информации о новорожденных в зоне обслуживания).</a:t>
                      </a:r>
                      <a:endParaRPr lang="en-US" sz="80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46038" indent="-46038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роблемы ответственности частных страховых компаний (обязанности по наблюдению за детьми, включая вакцинацию) и проблемы обмена данными.</a:t>
                      </a:r>
                      <a:endParaRPr lang="ka-GE" sz="80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  <a:p>
                      <a:pPr marL="46038" marR="0" lvl="0" indent="-46038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Слабое взаимодействие между различными финансируемыми гос. программами, приводящее к неопределенности в отношении целевой группы населения на уровне учреждения.</a:t>
                      </a:r>
                    </a:p>
                    <a:p>
                      <a:pPr marL="46038" marR="0" lvl="0" indent="-46038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Недостаточная обратная связь со стороны общ. здравоохранения, между руководством и мед. Работниками</a:t>
                      </a:r>
                    </a:p>
                    <a:p>
                      <a:pPr marL="46038" marR="0" lvl="0" indent="-46038" algn="l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Низкий уровень компетентности врачей и медсестер первичной медико-санитарной помощи в эффективном информировании о вакцинации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3F29AE2-B32F-D0E9-AC5E-CD232437A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113537"/>
              </p:ext>
            </p:extLst>
          </p:nvPr>
        </p:nvGraphicFramePr>
        <p:xfrm>
          <a:off x="4103268" y="2922333"/>
          <a:ext cx="4974954" cy="1100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4954">
                  <a:extLst>
                    <a:ext uri="{9D8B030D-6E8A-4147-A177-3AD203B41FA5}">
                      <a16:colId xmlns:a16="http://schemas.microsoft.com/office/drawing/2014/main" val="3360263627"/>
                    </a:ext>
                  </a:extLst>
                </a:gridCol>
              </a:tblGrid>
              <a:tr h="25922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иоритетные потребности в оптимизации охвата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на 2026 год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)</a:t>
                      </a:r>
                      <a:endParaRPr lang="en-US" sz="12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38014"/>
                  </a:ext>
                </a:extLst>
              </a:tr>
              <a:tr h="826428">
                <a:tc>
                  <a:txBody>
                    <a:bodyPr/>
                    <a:lstStyle/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Обеспечение своевременной регистрации новорожденных на уровне первичного звена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Модификация электронной системы (включая автоматическое </a:t>
                      </a:r>
                      <a:r>
                        <a:rPr lang="en-US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MS-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уведомление), улучшение взаимодействия между электронными системами, расширение доступа к электронной системе для частнопрактикующих врачей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олитика, гарантирующая, что частные страховые компании возьмут на себя ответственность </a:t>
                      </a:r>
                      <a:r>
                        <a:rPr lang="ru-RU" sz="80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за наблюдение </a:t>
                      </a:r>
                      <a:r>
                        <a:rPr lang="ru-RU" sz="8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за детьми и будут обмениваться данными о списках застрахованных детей.</a:t>
                      </a:r>
                      <a:endParaRPr lang="en-US" sz="8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18971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908EED0-952C-4F37-8CE3-BF6C654D6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628807"/>
              </p:ext>
            </p:extLst>
          </p:nvPr>
        </p:nvGraphicFramePr>
        <p:xfrm>
          <a:off x="51029" y="4079966"/>
          <a:ext cx="4684193" cy="2226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4193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21705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Осуществленные подходы</a:t>
                      </a:r>
                      <a:endParaRPr lang="en-US" sz="14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857306">
                <a:tc>
                  <a:txBody>
                    <a:bodyPr/>
                    <a:lstStyle/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9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остановление </a:t>
                      </a:r>
                      <a:r>
                        <a:rPr lang="ru-RU" sz="9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Правительства (2022 г.), обязывающее учреждения первичной помощи регистрировать новорожденного в течение 7 дней после рождения. </a:t>
                      </a:r>
                      <a:r>
                        <a:rPr lang="ru-RU" sz="900" i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на данный момент не действует)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9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остановление Правительства (2025 г.) о введении показателей эффективности, связанных с выплатой (включая охват КПК-1), с 2026 г.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9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Разработка планов улучшению на основе исследований 2023-25 ​​гг.: 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1) Выявление недостаточно вакцинированных детей и разработка </a:t>
                      </a:r>
                      <a:r>
                        <a:rPr lang="ru-RU" sz="80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микропланов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(2023-24 гг., ВОЗ); 2) Совместная внешняя оценка основных возможностей ММСП (2024 г., </a:t>
                      </a:r>
                      <a:r>
                        <a:rPr lang="en-US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DC,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ВОЗ); 3) Оценка охвата рота и ПКВ (2024 г., ВОЗ); 4) Оценка охвата и равенства анализом первопричин </a:t>
                      </a:r>
                      <a:r>
                        <a:rPr lang="ru-RU" sz="800" kern="120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нед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. охвата и нулевых доз в 3 районах (2024 г., ЮНИСЕФ, </a:t>
                      </a:r>
                      <a:r>
                        <a:rPr lang="en-US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IF); 5) 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Качественное исследование для информирования о мероприятиях по плановой вакцинации детей (2023 г., ВОЗ);</a:t>
                      </a:r>
                    </a:p>
                    <a:p>
                      <a:pPr marL="136525" indent="-13652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9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оследующие действия: 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1) Мониторинг воздействия мер по устранению неравенства в иммунизации (2025 г., ВОЗ); 2) Решение проблем вакцинации в Рустави, Гори и Марнеули (2025 г., ЮНИСЕФ, </a:t>
                      </a:r>
                      <a:r>
                        <a:rPr lang="en-US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aritas Czech Republic, </a:t>
                      </a:r>
                      <a:r>
                        <a:rPr lang="ru-RU" sz="8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Правительство Кореи)</a:t>
                      </a:r>
                      <a:endParaRPr lang="en-US" sz="800" kern="12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ea typeface="+mn-ea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5241C14-BA57-0890-5F0F-28081FC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2192269"/>
              </p:ext>
            </p:extLst>
          </p:nvPr>
        </p:nvGraphicFramePr>
        <p:xfrm>
          <a:off x="4784528" y="4079966"/>
          <a:ext cx="4308767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8767">
                  <a:extLst>
                    <a:ext uri="{9D8B030D-6E8A-4147-A177-3AD203B41FA5}">
                      <a16:colId xmlns:a16="http://schemas.microsoft.com/office/drawing/2014/main" val="2696338118"/>
                    </a:ext>
                  </a:extLst>
                </a:gridCol>
              </a:tblGrid>
              <a:tr h="314123">
                <a:tc>
                  <a:txBody>
                    <a:bodyPr/>
                    <a:lstStyle/>
                    <a:p>
                      <a:pPr marL="0" marR="0" lvl="0" indent="0" algn="ctr" defTabSz="9142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Успехи и извлеченные уроки</a:t>
                      </a:r>
                      <a:endParaRPr lang="en-US" sz="1400" dirty="0">
                        <a:solidFill>
                          <a:schemeClr val="bg1"/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17A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18435"/>
                  </a:ext>
                </a:extLst>
              </a:tr>
              <a:tr h="191091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Текущие мероприятия:</a:t>
                      </a:r>
                      <a:endParaRPr lang="en-US" sz="10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133350" indent="-13335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Целевая вакцинация определенных групп населения</a:t>
                      </a:r>
                      <a:endParaRPr lang="en-US" sz="10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133350" indent="-13335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Онлайн-встречи с представителями общ. здравоохранения по вопросам реализации программы иммунизации</a:t>
                      </a:r>
                    </a:p>
                    <a:p>
                      <a:pPr marL="133350" indent="-13335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Мониторинг программы иммунизации в выбранных районах</a:t>
                      </a:r>
                    </a:p>
                    <a:p>
                      <a:pPr marL="133350" indent="-13335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Развитие кадрового потенциала медицинских учреждений (тренинги, пособия)</a:t>
                      </a:r>
                    </a:p>
                    <a:p>
                      <a:pPr marL="133350" indent="-133350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Распространение образовательных видео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   и других материалов в мед. учреждениях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   для повышения осведомленности населения.</a:t>
                      </a:r>
                      <a:endParaRPr lang="en-US" sz="1000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74194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13701FD-C0BF-6454-9B32-9413678712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015" y="50747"/>
            <a:ext cx="1282073" cy="8488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DD47B7A-2D88-9235-A807-2DAF49FC5A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4286" y="5514378"/>
            <a:ext cx="794725" cy="7906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B7C168C-B220-7FA0-FACE-1F72D89FFA06}"/>
              </a:ext>
            </a:extLst>
          </p:cNvPr>
          <p:cNvSpPr txBox="1"/>
          <p:nvPr/>
        </p:nvSpPr>
        <p:spPr>
          <a:xfrm>
            <a:off x="7805853" y="5358189"/>
            <a:ext cx="130537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" i="1" dirty="0">
                <a:solidFill>
                  <a:srgbClr val="1070B8"/>
                </a:solidFill>
              </a:rPr>
              <a:t>Ссылка на обучающее видео</a:t>
            </a:r>
            <a:endParaRPr lang="en-GE" sz="600" i="1" dirty="0">
              <a:solidFill>
                <a:srgbClr val="1070B8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4AE03E-C9CD-BAAE-999B-E100062A49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96" y="1041365"/>
            <a:ext cx="3986496" cy="293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668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  <SharedWithUsers xmlns="a6b7a42b-578f-4fd1-9d67-5a3066b9c5a5">
      <UserInfo>
        <DisplayName>Elizabeth Ohadi</DisplayName>
        <AccountId>13</AccountId>
        <AccountType/>
      </UserInfo>
      <UserInfo>
        <DisplayName>Colleen Keating</DisplayName>
        <AccountId>372</AccountId>
        <AccountType/>
      </UserInfo>
      <UserInfo>
        <DisplayName>Christina Shaw</DisplayName>
        <AccountId>15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F60BD8-D668-47DF-AE94-9D3E1BA7162F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bcb27da4-2e3e-416a-a040-6d0b2e3a2039"/>
    <ds:schemaRef ds:uri="http://www.w3.org/XML/1998/namespace"/>
    <ds:schemaRef ds:uri="http://schemas.microsoft.com/office/2006/documentManagement/types"/>
    <ds:schemaRef ds:uri="a6b7a42b-578f-4fd1-9d67-5a3066b9c5a5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11F2289-BAB9-469B-B0DE-3C1A7271F0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27da4-2e3e-416a-a040-6d0b2e3a2039"/>
    <ds:schemaRef ds:uri="a6b7a42b-578f-4fd1-9d67-5a3066b9c5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D129A0-0FDD-4B0E-B270-06BBD5B9F4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520</TotalTime>
  <Words>466</Words>
  <Application>Microsoft Macintosh PowerPoint</Application>
  <PresentationFormat>On-screen Show (4:3)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Poppins</vt:lpstr>
      <vt:lpstr>Wingdings</vt:lpstr>
      <vt:lpstr>R4D_StandardTemplate_MAC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Shaw</dc:creator>
  <cp:lastModifiedBy>Ivdity Chikovani</cp:lastModifiedBy>
  <cp:revision>65</cp:revision>
  <dcterms:created xsi:type="dcterms:W3CDTF">2024-04-05T17:45:07Z</dcterms:created>
  <dcterms:modified xsi:type="dcterms:W3CDTF">2025-09-22T14:2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FE10225DE664B90ECA796EE42F5B4</vt:lpwstr>
  </property>
  <property fmtid="{D5CDD505-2E9C-101B-9397-08002B2CF9AE}" pid="3" name="MediaServiceImageTags">
    <vt:lpwstr/>
  </property>
</Properties>
</file>